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300" r:id="rId2"/>
    <p:sldId id="304" r:id="rId3"/>
    <p:sldId id="305" r:id="rId4"/>
    <p:sldId id="306" r:id="rId5"/>
    <p:sldId id="307" r:id="rId6"/>
  </p:sldIdLst>
  <p:sldSz cx="12192000" cy="6858000"/>
  <p:notesSz cx="6797675" cy="99298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2F5597"/>
    <a:srgbClr val="FFC000"/>
    <a:srgbClr val="0D4FFC"/>
    <a:srgbClr val="0070C0"/>
    <a:srgbClr val="96DCF8"/>
    <a:srgbClr val="FFEFBF"/>
    <a:srgbClr val="D9D9D9"/>
    <a:srgbClr val="FFFFFF"/>
    <a:srgbClr val="FF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39" autoAdjust="0"/>
    <p:restoredTop sz="97423" autoAdjust="0"/>
  </p:normalViewPr>
  <p:slideViewPr>
    <p:cSldViewPr snapToGrid="0" showGuides="1">
      <p:cViewPr varScale="1">
        <p:scale>
          <a:sx n="113" d="100"/>
          <a:sy n="113" d="100"/>
        </p:scale>
        <p:origin x="570" y="114"/>
      </p:cViewPr>
      <p:guideLst>
        <p:guide orient="horz" pos="2160"/>
        <p:guide pos="3840"/>
        <p:guide orient="horz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8216"/>
          </a:xfrm>
          <a:prstGeom prst="rect">
            <a:avLst/>
          </a:prstGeom>
        </p:spPr>
        <p:txBody>
          <a:bodyPr vert="horz" lIns="95572" tIns="47786" rIns="95572" bIns="47786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60" cy="498216"/>
          </a:xfrm>
          <a:prstGeom prst="rect">
            <a:avLst/>
          </a:prstGeom>
        </p:spPr>
        <p:txBody>
          <a:bodyPr vert="horz" lIns="95572" tIns="47786" rIns="95572" bIns="47786" rtlCol="0"/>
          <a:lstStyle>
            <a:lvl1pPr algn="r">
              <a:defRPr sz="1300"/>
            </a:lvl1pPr>
          </a:lstStyle>
          <a:p>
            <a:fld id="{B7E47988-87DE-47E3-A120-56FEBEE55313}" type="datetimeFigureOut">
              <a:rPr lang="ru-RU" smtClean="0"/>
              <a:t>13.01.202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72" tIns="47786" rIns="95572" bIns="4778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8723"/>
            <a:ext cx="5438140" cy="3909864"/>
          </a:xfrm>
          <a:prstGeom prst="rect">
            <a:avLst/>
          </a:prstGeom>
        </p:spPr>
        <p:txBody>
          <a:bodyPr vert="horz" lIns="95572" tIns="47786" rIns="95572" bIns="4778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1599"/>
            <a:ext cx="2945660" cy="498214"/>
          </a:xfrm>
          <a:prstGeom prst="rect">
            <a:avLst/>
          </a:prstGeom>
        </p:spPr>
        <p:txBody>
          <a:bodyPr vert="horz" lIns="95572" tIns="47786" rIns="95572" bIns="47786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1599"/>
            <a:ext cx="2945660" cy="498214"/>
          </a:xfrm>
          <a:prstGeom prst="rect">
            <a:avLst/>
          </a:prstGeom>
        </p:spPr>
        <p:txBody>
          <a:bodyPr vert="horz" lIns="95572" tIns="47786" rIns="95572" bIns="47786" rtlCol="0" anchor="b"/>
          <a:lstStyle>
            <a:lvl1pPr algn="r">
              <a:defRPr sz="1300"/>
            </a:lvl1pPr>
          </a:lstStyle>
          <a:p>
            <a:fld id="{E16AE868-87F1-4401-A41B-EFE0EA8A3F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5315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5089" y="5615698"/>
            <a:ext cx="4157522" cy="260644"/>
          </a:xfrm>
        </p:spPr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725464">
              <a:defRPr/>
            </a:pPr>
            <a:fld id="{3C3A632B-FBDE-46D4-BF6F-6D14421E6342}" type="slidenum">
              <a:rPr lang="en-US">
                <a:solidFill>
                  <a:srgbClr val="000000"/>
                </a:solidFill>
              </a:rPr>
              <a:pPr defTabSz="725464">
                <a:defRPr/>
              </a:pPr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6514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11AD882-529D-6F96-6482-8B552A023D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735FE86-F9CB-1A52-BA72-474AD5BEB1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C6E7038-1F81-56DF-89E9-78B0DF4804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11015-95B6-4ECD-BB72-6637E88E32CA}" type="datetimeFigureOut">
              <a:rPr lang="ru-RU" smtClean="0"/>
              <a:t>13.01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52F1E02-C983-B910-FC65-E6232C4DBF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A68207B-817C-6FB6-3BC8-9BFF3AF549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D7F00-37F6-4463-85F9-AADE5BD077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6502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FB73D6-902E-4407-E4FA-6AD5C4F7B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93BB4AF-6A27-BA9A-DF26-E0FD9C91E7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65310EC-5519-C043-708D-C526C86D83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11015-95B6-4ECD-BB72-6637E88E32CA}" type="datetimeFigureOut">
              <a:rPr lang="ru-RU" smtClean="0"/>
              <a:t>13.01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1175550-D030-56ED-6D0C-782DA3882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6B0765A-8F22-2CC1-A0D9-3E712BBD9F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D7F00-37F6-4463-85F9-AADE5BD077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16495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3386182C-06C0-DB36-D064-6D8EA007540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547965F-EBBE-128A-EA41-D496EFBE3F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ECD5A3A-A54A-0143-7422-23284D871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11015-95B6-4ECD-BB72-6637E88E32CA}" type="datetimeFigureOut">
              <a:rPr lang="ru-RU" smtClean="0"/>
              <a:t>13.01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3976247-FB83-7810-3120-FF26E5FA9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7FB2A2B-1F20-6C0C-79B0-3C310BBDF0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D7F00-37F6-4463-85F9-AADE5BD077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9274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31" b="0" i="0">
                <a:solidFill>
                  <a:schemeClr val="tx1"/>
                </a:solidFill>
                <a:latin typeface="Microsoft Sans Serif"/>
                <a:cs typeface="Microsoft Sans Serif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A27773-1AA9-4E66-8A9C-737F401720F8}" type="datetime1">
              <a:rPr lang="en-US" smtClean="0"/>
              <a:t>1/13/2026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216380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784F43-B5BD-9E72-6F52-843500C29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FE7A24B-A39B-4C38-5A76-9DED8E98B8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696D54E-409A-2175-769A-EC67F7C73C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11015-95B6-4ECD-BB72-6637E88E32CA}" type="datetimeFigureOut">
              <a:rPr lang="ru-RU" smtClean="0"/>
              <a:t>13.01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379BD26-C481-3B60-F895-7FB154B75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832C074-225D-D618-4445-273067B3C2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D7F00-37F6-4463-85F9-AADE5BD077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8225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F99F7C9-E4D1-66BB-37CE-082ACDEB4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2B1FA37-48C4-70E5-6CAE-2D2F772109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E0E2DE3-6546-813C-4B15-71B903BDC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11015-95B6-4ECD-BB72-6637E88E32CA}" type="datetimeFigureOut">
              <a:rPr lang="ru-RU" smtClean="0"/>
              <a:t>13.01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5468F20-B9F2-C983-8973-5AA7620851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2FB3EBD-2D56-0515-D57F-F11FDC59A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D7F00-37F6-4463-85F9-AADE5BD077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22698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12AE439-ED96-5E53-AA8D-70C3C4A129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0195114-C30A-C9B6-77FD-751DDA74ECA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B7C0FD4-1A77-EE15-3C86-9F91AC7BB9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79E81A2-9E06-149F-47EA-89B51A5707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11015-95B6-4ECD-BB72-6637E88E32CA}" type="datetimeFigureOut">
              <a:rPr lang="ru-RU" smtClean="0"/>
              <a:t>13.01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80312CC-1FB1-386A-CBF4-2B638725B4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AC8A798-6534-D2F2-9B5C-790F3FC22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D7F00-37F6-4463-85F9-AADE5BD077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14061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6EF596-FE9B-508C-5858-FD01FEBC1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85D1B7A-F9B1-D200-65F0-83E002A9A8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8B542BB-0851-C007-45A3-92577319036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83B1E985-BF8F-3680-0044-FAC7D71A31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56E0DE4F-1929-FDE3-7542-9C00B07D35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FB62B40-7EA4-B88E-F118-29DE6F04F6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11015-95B6-4ECD-BB72-6637E88E32CA}" type="datetimeFigureOut">
              <a:rPr lang="ru-RU" smtClean="0"/>
              <a:t>13.01.2026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70250D25-7210-FC5A-D292-72DBECF571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4F510D1D-73C4-61FE-3AB0-EAA9BB8CD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D7F00-37F6-4463-85F9-AADE5BD077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99382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6125B24-74A9-8D3C-3CE7-A17B92BBCE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128C0D0-0859-9884-8950-74A6C2D2A0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11015-95B6-4ECD-BB72-6637E88E32CA}" type="datetimeFigureOut">
              <a:rPr lang="ru-RU" smtClean="0"/>
              <a:t>13.01.2026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11744A6-4F6D-638C-0714-49343CA6FD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FA2BD77-BE80-E775-B81E-FDBCF27E1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D7F00-37F6-4463-85F9-AADE5BD077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94298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BD2636E-63E8-6487-AFAD-350CAF46D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11015-95B6-4ECD-BB72-6637E88E32CA}" type="datetimeFigureOut">
              <a:rPr lang="ru-RU" smtClean="0"/>
              <a:t>13.01.2026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32A9ADB2-A3A0-5C90-96C9-F1A51AB6C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00DF0D5-5F66-D24E-A27C-FFBC12AC19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D7F00-37F6-4463-85F9-AADE5BD077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49318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FF7879-652C-2926-DB71-5EFED2F4F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F0340B6-C66D-AC2E-2B50-9A0DBF361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E2605345-56EC-E5AB-C02F-D7ABE1C2A4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95A5B1B-93B1-F09D-8BBF-9051F73920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11015-95B6-4ECD-BB72-6637E88E32CA}" type="datetimeFigureOut">
              <a:rPr lang="ru-RU" smtClean="0"/>
              <a:t>13.01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EE74AA1-FC14-FC7C-73E4-2051E2BC4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449C721-77BE-1B89-94B7-FA474150A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D7F00-37F6-4463-85F9-AADE5BD077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10233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02DF7E5-9515-6C35-F10F-07198D74F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2A3EFC1F-A7B7-7DB8-3EFA-777A6EB2DA0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404F82C-E8ED-A7A3-7688-6867467CD3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0646E51-4EC8-C916-05B5-7079BED64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11015-95B6-4ECD-BB72-6637E88E32CA}" type="datetimeFigureOut">
              <a:rPr lang="ru-RU" smtClean="0"/>
              <a:t>13.01.2026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7C867AB6-0D23-66C8-026C-34F29B748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E93718E-4474-2102-A5FA-C4ED9BF14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D7F00-37F6-4463-85F9-AADE5BD077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533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52D4918-EE27-62B9-AFA4-C2910859B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8EEA048-3709-D2D5-15FF-7B9845AAF3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686F8BE-CDD0-93D4-5AFE-E30E9C2F5F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A811015-95B6-4ECD-BB72-6637E88E32CA}" type="datetimeFigureOut">
              <a:rPr lang="ru-RU" smtClean="0"/>
              <a:t>13.01.2026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15EB4A5-5D92-BDD7-D472-0F5CD743EB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FD19EA4-2FF6-A29D-A876-C658F6FD05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02D7F00-37F6-4463-85F9-AADE5BD077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5570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Прямоугольник 248"/>
          <p:cNvSpPr/>
          <p:nvPr/>
        </p:nvSpPr>
        <p:spPr>
          <a:xfrm>
            <a:off x="158537" y="104788"/>
            <a:ext cx="11874926" cy="6627865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889E38F-CE3E-44F7-ADBC-3C9119B3D9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314" y="3916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889E38F-CE3E-44F7-ADBC-3C9119B3D95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14" y="3916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63AECC7-489D-4064-B05F-4962581BA8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98" y="1799"/>
            <a:ext cx="211556" cy="21155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938" dirty="0" err="1">
              <a:solidFill>
                <a:srgbClr val="000000"/>
              </a:solidFill>
              <a:latin typeface="Segoe UI Black" panose="020B0A02040204020203" pitchFamily="34" charset="0"/>
              <a:ea typeface="ＭＳ Ｐゴシック"/>
              <a:sym typeface="Segoe UI Black" panose="020B0A02040204020203" pitchFamily="34" charset="0"/>
            </a:endParaRPr>
          </a:p>
        </p:txBody>
      </p:sp>
      <p:sp>
        <p:nvSpPr>
          <p:cNvPr id="5742" name="Rectangle 5741" hidden="1">
            <a:extLst>
              <a:ext uri="{FF2B5EF4-FFF2-40B4-BE49-F238E27FC236}">
                <a16:creationId xmlns:a16="http://schemas.microsoft.com/office/drawing/2014/main" id="{E2528067-BB0A-4FFC-94CA-EEBCCCAD73D4}"/>
              </a:ext>
            </a:extLst>
          </p:cNvPr>
          <p:cNvSpPr/>
          <p:nvPr/>
        </p:nvSpPr>
        <p:spPr>
          <a:xfrm>
            <a:off x="3198" y="1799"/>
            <a:ext cx="211556" cy="21155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66" b="1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48" name="TextBox 4"/>
          <p:cNvSpPr txBox="1"/>
          <p:nvPr/>
        </p:nvSpPr>
        <p:spPr>
          <a:xfrm>
            <a:off x="414883" y="2495390"/>
            <a:ext cx="11362234" cy="21544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4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ГОРИТМ ВЫЯВЛЕНИЯ АУТОДЕСТРУКТИВНОГО ПОВЕДЕНИЯ УЧАЩИХСЯ</a:t>
            </a:r>
            <a:br>
              <a:rPr lang="ru-RU" sz="4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000" i="1" spc="10" dirty="0">
                <a:solidFill>
                  <a:schemeClr val="bg1">
                    <a:lumMod val="8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классным руководителем, куратором)</a:t>
            </a:r>
            <a:endParaRPr lang="ru-RU" sz="2000" b="1" dirty="0">
              <a:solidFill>
                <a:schemeClr val="bg1">
                  <a:lumMod val="8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417" name="Google Shape;393;p10"/>
          <p:cNvCxnSpPr>
            <a:cxnSpLocks noChangeShapeType="1"/>
          </p:cNvCxnSpPr>
          <p:nvPr/>
        </p:nvCxnSpPr>
        <p:spPr bwMode="auto">
          <a:xfrm>
            <a:off x="365658" y="1482764"/>
            <a:ext cx="0" cy="5053048"/>
          </a:xfrm>
          <a:prstGeom prst="straightConnector1">
            <a:avLst/>
          </a:prstGeom>
          <a:noFill/>
          <a:ln w="38100">
            <a:solidFill>
              <a:schemeClr val="bg1">
                <a:lumMod val="85000"/>
              </a:schemeClr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18" name="Google Shape;393;p10"/>
          <p:cNvCxnSpPr>
            <a:cxnSpLocks noChangeShapeType="1"/>
          </p:cNvCxnSpPr>
          <p:nvPr/>
        </p:nvCxnSpPr>
        <p:spPr bwMode="auto">
          <a:xfrm flipH="1">
            <a:off x="509763" y="6535812"/>
            <a:ext cx="8652037" cy="0"/>
          </a:xfrm>
          <a:prstGeom prst="straightConnector1">
            <a:avLst/>
          </a:prstGeom>
          <a:noFill/>
          <a:ln w="38100">
            <a:solidFill>
              <a:schemeClr val="bg1">
                <a:lumMod val="85000"/>
              </a:schemeClr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19" name="Google Shape;393;p10"/>
          <p:cNvCxnSpPr>
            <a:cxnSpLocks noChangeShapeType="1"/>
          </p:cNvCxnSpPr>
          <p:nvPr/>
        </p:nvCxnSpPr>
        <p:spPr bwMode="auto">
          <a:xfrm flipH="1">
            <a:off x="1559204" y="322188"/>
            <a:ext cx="10198098" cy="0"/>
          </a:xfrm>
          <a:prstGeom prst="straightConnector1">
            <a:avLst/>
          </a:prstGeom>
          <a:noFill/>
          <a:ln w="38100">
            <a:solidFill>
              <a:schemeClr val="bg1">
                <a:lumMod val="85000"/>
              </a:schemeClr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0" name="Google Shape;393;p10"/>
          <p:cNvCxnSpPr>
            <a:cxnSpLocks noChangeShapeType="1"/>
          </p:cNvCxnSpPr>
          <p:nvPr/>
        </p:nvCxnSpPr>
        <p:spPr bwMode="auto">
          <a:xfrm>
            <a:off x="11796932" y="415137"/>
            <a:ext cx="0" cy="3013863"/>
          </a:xfrm>
          <a:prstGeom prst="straightConnector1">
            <a:avLst/>
          </a:prstGeom>
          <a:noFill/>
          <a:ln w="38100">
            <a:solidFill>
              <a:schemeClr val="bg1">
                <a:lumMod val="85000"/>
              </a:schemeClr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4" name="Рисунок 33" descr="Изображение выглядит как эмблема, символ, герб, нашивка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4A4117D3-63E4-08A9-701E-ACEF8CF03B0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140" t="11218" r="11157" b="14463"/>
          <a:stretch/>
        </p:blipFill>
        <p:spPr>
          <a:xfrm>
            <a:off x="158538" y="104786"/>
            <a:ext cx="1601252" cy="1551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3345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F264C9-E161-80EF-2520-212609D35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8833C96-1B8C-FA2E-5554-0C81627AD73F}"/>
              </a:ext>
            </a:extLst>
          </p:cNvPr>
          <p:cNvSpPr/>
          <p:nvPr/>
        </p:nvSpPr>
        <p:spPr>
          <a:xfrm>
            <a:off x="0" y="0"/>
            <a:ext cx="433634" cy="43363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40EE41-D7BA-622A-09B4-9F57C991C1D5}"/>
              </a:ext>
            </a:extLst>
          </p:cNvPr>
          <p:cNvSpPr txBox="1"/>
          <p:nvPr/>
        </p:nvSpPr>
        <p:spPr>
          <a:xfrm>
            <a:off x="501978" y="-14016"/>
            <a:ext cx="714650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spc="-11" dirty="0">
                <a:solidFill>
                  <a:srgbClr val="2F55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ТАП НАБЛЮДЕНИЯ (ПОСТОЯННЫЙ)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3FB04605-18B3-A570-76A1-9D1C030B1019}"/>
              </a:ext>
            </a:extLst>
          </p:cNvPr>
          <p:cNvCxnSpPr>
            <a:cxnSpLocks/>
          </p:cNvCxnSpPr>
          <p:nvPr/>
        </p:nvCxnSpPr>
        <p:spPr>
          <a:xfrm>
            <a:off x="0" y="433634"/>
            <a:ext cx="12192000" cy="7959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FD8D184-4F0E-00F6-522C-64A57D632BAA}"/>
              </a:ext>
            </a:extLst>
          </p:cNvPr>
          <p:cNvSpPr/>
          <p:nvPr/>
        </p:nvSpPr>
        <p:spPr>
          <a:xfrm>
            <a:off x="146617" y="1490633"/>
            <a:ext cx="3631761" cy="21276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мкнутость, резкое снижение общения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теря интереса к учебе, хобби, внеклассным мероприятиям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грессия, вспышки раздражительности, апатия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зкие перепады настроения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лонность к противоправным действиям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E7650F-45CE-2710-A02A-AC90FB185F2F}"/>
              </a:ext>
            </a:extLst>
          </p:cNvPr>
          <p:cNvSpPr txBox="1"/>
          <p:nvPr/>
        </p:nvSpPr>
        <p:spPr>
          <a:xfrm>
            <a:off x="146618" y="627521"/>
            <a:ext cx="3631760" cy="771548"/>
          </a:xfrm>
          <a:prstGeom prst="rect">
            <a:avLst/>
          </a:prstGeom>
          <a:gradFill rotWithShape="1">
            <a:gsLst>
              <a:gs pos="0">
                <a:srgbClr val="4472C4">
                  <a:satMod val="103000"/>
                  <a:lumMod val="102000"/>
                  <a:tint val="94000"/>
                </a:srgbClr>
              </a:gs>
              <a:gs pos="50000">
                <a:srgbClr val="4472C4">
                  <a:satMod val="110000"/>
                  <a:lumMod val="100000"/>
                  <a:shade val="100000"/>
                </a:srgbClr>
              </a:gs>
              <a:gs pos="100000">
                <a:srgbClr val="4472C4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ctr" defTabSz="828446" eaLnBrk="0" fontAlgn="base" hangingPunct="0">
              <a:spcBef>
                <a:spcPct val="0"/>
              </a:spcBef>
              <a:spcAft>
                <a:spcPct val="0"/>
              </a:spcAft>
              <a:defRPr sz="1268" ker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828446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ВЕДЕНЧЕСКИЕ ПРИЗНАКИ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41C2B8F-578A-87A6-4CD0-C2060604EB5A}"/>
              </a:ext>
            </a:extLst>
          </p:cNvPr>
          <p:cNvSpPr/>
          <p:nvPr/>
        </p:nvSpPr>
        <p:spPr>
          <a:xfrm>
            <a:off x="4284421" y="1490633"/>
            <a:ext cx="3631761" cy="14425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увство безысходности, тревожность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астые жалобы на усталость, бессмысленность жизни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ражения вины, никчемности.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endParaRPr lang="ru-RU" sz="1400" spc="1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1BBD27A-B836-1397-9CB9-0B912EBF0083}"/>
              </a:ext>
            </a:extLst>
          </p:cNvPr>
          <p:cNvSpPr txBox="1"/>
          <p:nvPr/>
        </p:nvSpPr>
        <p:spPr>
          <a:xfrm>
            <a:off x="4284422" y="627521"/>
            <a:ext cx="3631760" cy="771548"/>
          </a:xfrm>
          <a:prstGeom prst="rect">
            <a:avLst/>
          </a:prstGeom>
          <a:gradFill rotWithShape="1">
            <a:gsLst>
              <a:gs pos="0">
                <a:srgbClr val="4472C4">
                  <a:satMod val="103000"/>
                  <a:lumMod val="102000"/>
                  <a:tint val="94000"/>
                </a:srgbClr>
              </a:gs>
              <a:gs pos="50000">
                <a:srgbClr val="4472C4">
                  <a:satMod val="110000"/>
                  <a:lumMod val="100000"/>
                  <a:shade val="100000"/>
                </a:srgbClr>
              </a:gs>
              <a:gs pos="100000">
                <a:srgbClr val="4472C4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ctr" defTabSz="828446" eaLnBrk="0" fontAlgn="base" hangingPunct="0">
              <a:spcBef>
                <a:spcPct val="0"/>
              </a:spcBef>
              <a:spcAft>
                <a:spcPct val="0"/>
              </a:spcAft>
              <a:defRPr sz="1268" ker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828446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МОЦИОНАЛЬНЫЕ ПРИЗНАКИ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4FC0DBE-1689-1E97-9155-AB679D3C9D6F}"/>
              </a:ext>
            </a:extLst>
          </p:cNvPr>
          <p:cNvSpPr/>
          <p:nvPr/>
        </p:nvSpPr>
        <p:spPr>
          <a:xfrm>
            <a:off x="8422225" y="1490633"/>
            <a:ext cx="3631761" cy="985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зкое снижение успеваемости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астые пропуски занятий без уважительных причин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endParaRPr lang="ru-RU" sz="1400" spc="1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42ECB70-AD70-5FD2-3936-5236DDC8DADC}"/>
              </a:ext>
            </a:extLst>
          </p:cNvPr>
          <p:cNvSpPr txBox="1"/>
          <p:nvPr/>
        </p:nvSpPr>
        <p:spPr>
          <a:xfrm>
            <a:off x="8422226" y="627521"/>
            <a:ext cx="3631760" cy="771548"/>
          </a:xfrm>
          <a:prstGeom prst="rect">
            <a:avLst/>
          </a:prstGeom>
          <a:gradFill rotWithShape="1">
            <a:gsLst>
              <a:gs pos="0">
                <a:srgbClr val="4472C4">
                  <a:satMod val="103000"/>
                  <a:lumMod val="102000"/>
                  <a:tint val="94000"/>
                </a:srgbClr>
              </a:gs>
              <a:gs pos="50000">
                <a:srgbClr val="4472C4">
                  <a:satMod val="110000"/>
                  <a:lumMod val="100000"/>
                  <a:shade val="100000"/>
                </a:srgbClr>
              </a:gs>
              <a:gs pos="100000">
                <a:srgbClr val="4472C4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ctr" defTabSz="828446" eaLnBrk="0" fontAlgn="base" hangingPunct="0">
              <a:spcBef>
                <a:spcPct val="0"/>
              </a:spcBef>
              <a:spcAft>
                <a:spcPct val="0"/>
              </a:spcAft>
              <a:defRPr sz="1268" ker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828446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ЕБНЫЕ ПРИЗНАКИ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3E806DD-6569-C6DF-6E08-6FBC21941516}"/>
              </a:ext>
            </a:extLst>
          </p:cNvPr>
          <p:cNvSpPr/>
          <p:nvPr/>
        </p:nvSpPr>
        <p:spPr>
          <a:xfrm>
            <a:off x="0" y="3853132"/>
            <a:ext cx="433634" cy="43363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A82A403-A4CD-EF87-3E70-2165A9BF2860}"/>
              </a:ext>
            </a:extLst>
          </p:cNvPr>
          <p:cNvSpPr txBox="1"/>
          <p:nvPr/>
        </p:nvSpPr>
        <p:spPr>
          <a:xfrm>
            <a:off x="501978" y="3839116"/>
            <a:ext cx="714650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spc="-11" dirty="0">
                <a:solidFill>
                  <a:srgbClr val="2F55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ТАП ИНФОРМИРОВАНИЯ СПЕЦИАЛИСТОВ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A8A4E7B4-226B-FCA0-EC26-0A1C412A7CE0}"/>
              </a:ext>
            </a:extLst>
          </p:cNvPr>
          <p:cNvCxnSpPr>
            <a:cxnSpLocks/>
          </p:cNvCxnSpPr>
          <p:nvPr/>
        </p:nvCxnSpPr>
        <p:spPr>
          <a:xfrm>
            <a:off x="0" y="4286766"/>
            <a:ext cx="8203721" cy="1401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A135CF14-644E-1925-F937-43F9548BB9F2}"/>
              </a:ext>
            </a:extLst>
          </p:cNvPr>
          <p:cNvSpPr/>
          <p:nvPr/>
        </p:nvSpPr>
        <p:spPr>
          <a:xfrm>
            <a:off x="107838" y="4515815"/>
            <a:ext cx="7341079" cy="389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rgbClr val="FFC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СТВИЯ КУРАТОРА, КЛАССНОГО РУКОВОДИТЕЛЯ</a:t>
            </a:r>
            <a:endParaRPr lang="ru-RU" sz="2000" spc="10" dirty="0">
              <a:solidFill>
                <a:srgbClr val="FFC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B8CA58D7-9410-85EB-E22C-0014FDE58668}"/>
              </a:ext>
            </a:extLst>
          </p:cNvPr>
          <p:cNvSpPr/>
          <p:nvPr/>
        </p:nvSpPr>
        <p:spPr>
          <a:xfrm>
            <a:off x="216817" y="5055978"/>
            <a:ext cx="9634549" cy="16946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06000"/>
              </a:lnSpc>
              <a:buAutoNum type="arabicPeriod"/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ЗАМЕДЛИТЕЛЬНО СООБЩИТЬ </a:t>
            </a:r>
            <a:r>
              <a:rPr lang="ru-RU" sz="2000" b="1" spc="10" dirty="0">
                <a:solidFill>
                  <a:srgbClr val="2F55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 ДАННОМ ФАКТЕ СПЕЦИАЛИСТАМ СЛУЖБЫ ПСИХОЛОГО-ПЕДАГОГИЧЕСКОГО СОПРОВОЖДЕНИЯ.</a:t>
            </a:r>
          </a:p>
          <a:p>
            <a:pPr marL="457200" indent="-457200">
              <a:lnSpc>
                <a:spcPct val="106000"/>
              </a:lnSpc>
              <a:buAutoNum type="arabicPeriod"/>
              <a:tabLst>
                <a:tab pos="-450215" algn="l"/>
                <a:tab pos="630555" algn="l"/>
              </a:tabLst>
            </a:pPr>
            <a:endParaRPr lang="ru-RU" sz="2000" b="1" spc="10" dirty="0">
              <a:solidFill>
                <a:srgbClr val="2F5597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>
              <a:lnSpc>
                <a:spcPct val="106000"/>
              </a:lnSpc>
              <a:buAutoNum type="arabicPeriod"/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rgbClr val="2F55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КСАЦИЯ НАБЛЮДЕНИЙ </a:t>
            </a:r>
            <a:r>
              <a:rPr lang="ru-RU" sz="1600" i="1" spc="1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Форма №1, Форма №2, Форма №3)</a:t>
            </a:r>
            <a:endParaRPr lang="ru-RU" sz="2000" b="1" spc="10" dirty="0">
              <a:solidFill>
                <a:srgbClr val="2F5597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0" name="Рисунок 19" descr="Изображение выглядит как черный, темнота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41C355B2-7414-D72D-6DBE-5B2D4E1CA25B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5114" y="3382071"/>
            <a:ext cx="2411955" cy="241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3395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F264C9-E161-80EF-2520-212609D35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8833C96-1B8C-FA2E-5554-0C81627AD73F}"/>
              </a:ext>
            </a:extLst>
          </p:cNvPr>
          <p:cNvSpPr/>
          <p:nvPr/>
        </p:nvSpPr>
        <p:spPr>
          <a:xfrm>
            <a:off x="0" y="0"/>
            <a:ext cx="433634" cy="43363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40EE41-D7BA-622A-09B4-9F57C991C1D5}"/>
              </a:ext>
            </a:extLst>
          </p:cNvPr>
          <p:cNvSpPr txBox="1"/>
          <p:nvPr/>
        </p:nvSpPr>
        <p:spPr>
          <a:xfrm>
            <a:off x="501978" y="-14016"/>
            <a:ext cx="1155200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spc="-11" dirty="0">
                <a:solidFill>
                  <a:srgbClr val="2F55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Ы, НАПРАВЛЯЕМЫЕ В АДМИНИСТРАЦИЮ УЧЕБНОГОЗАВЕДЕНИЯ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3FB04605-18B3-A570-76A1-9D1C030B1019}"/>
              </a:ext>
            </a:extLst>
          </p:cNvPr>
          <p:cNvCxnSpPr>
            <a:cxnSpLocks/>
          </p:cNvCxnSpPr>
          <p:nvPr/>
        </p:nvCxnSpPr>
        <p:spPr>
          <a:xfrm>
            <a:off x="0" y="433634"/>
            <a:ext cx="12192000" cy="7959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" name="Рисунок 23" descr="Изображение выглядит как текст, письмо, Шрифт, документ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BBA0C6CB-01B1-5356-3A00-3E952ABDA7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46"/>
          <a:stretch/>
        </p:blipFill>
        <p:spPr>
          <a:xfrm>
            <a:off x="3948050" y="834062"/>
            <a:ext cx="3306813" cy="51898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7" name="Рисунок 26" descr="Изображение выглядит как текст, Шрифт, снимок экрана, Параллельный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7310B4B3-55C3-8CA7-0E6A-9AE50E3988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46"/>
          <a:stretch/>
        </p:blipFill>
        <p:spPr>
          <a:xfrm>
            <a:off x="216817" y="834062"/>
            <a:ext cx="3306813" cy="51898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Рисунок 28" descr="Изображение выглядит как текст, снимок экрана, Шрифт, документ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0FEEE72F-BFEA-11FB-C9B3-4E64A12B10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6801"/>
          <a:stretch/>
        </p:blipFill>
        <p:spPr>
          <a:xfrm>
            <a:off x="7679283" y="1845719"/>
            <a:ext cx="4206760" cy="31665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48F53A05-8996-25EA-86DE-B97AD76C72F7}"/>
              </a:ext>
            </a:extLst>
          </p:cNvPr>
          <p:cNvSpPr/>
          <p:nvPr/>
        </p:nvSpPr>
        <p:spPr>
          <a:xfrm>
            <a:off x="216817" y="6229537"/>
            <a:ext cx="7038046" cy="389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УРАТОР, КЛАССНЫЙ РУКОВОДИТЕЛЬ</a:t>
            </a:r>
            <a:endParaRPr lang="ru-RU" sz="2000" spc="1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F7B4CB14-8341-38F0-94C4-452143A49D7A}"/>
              </a:ext>
            </a:extLst>
          </p:cNvPr>
          <p:cNvSpPr/>
          <p:nvPr/>
        </p:nvSpPr>
        <p:spPr>
          <a:xfrm>
            <a:off x="7640585" y="5225123"/>
            <a:ext cx="4284155" cy="7159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МЕСТИТЕЛЬ ДИРЕКТОРА ПО ВОСПИТАТЕЛЬНОЙ РАБОТЕ</a:t>
            </a:r>
            <a:endParaRPr lang="ru-RU" sz="2000" spc="1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91902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F264C9-E161-80EF-2520-212609D35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A340EE41-D7BA-622A-09B4-9F57C991C1D5}"/>
              </a:ext>
            </a:extLst>
          </p:cNvPr>
          <p:cNvSpPr txBox="1"/>
          <p:nvPr/>
        </p:nvSpPr>
        <p:spPr>
          <a:xfrm>
            <a:off x="674785" y="126229"/>
            <a:ext cx="434606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spc="-11" dirty="0">
                <a:solidFill>
                  <a:srgbClr val="2F55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ТАП ВЗАИМОДЕЙСТВИЯ С РОДИТЕЛЯМИ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3FB04605-18B3-A570-76A1-9D1C030B1019}"/>
              </a:ext>
            </a:extLst>
          </p:cNvPr>
          <p:cNvCxnSpPr>
            <a:cxnSpLocks/>
          </p:cNvCxnSpPr>
          <p:nvPr/>
        </p:nvCxnSpPr>
        <p:spPr>
          <a:xfrm flipV="1">
            <a:off x="5600809" y="0"/>
            <a:ext cx="0" cy="685800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CD79ED3-FBAF-E209-3CA8-1879987EC4F2}"/>
              </a:ext>
            </a:extLst>
          </p:cNvPr>
          <p:cNvSpPr/>
          <p:nvPr/>
        </p:nvSpPr>
        <p:spPr>
          <a:xfrm>
            <a:off x="1224144" y="1541838"/>
            <a:ext cx="3420366" cy="389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rgbClr val="FFC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ЯДОК ДЕЙСТВИЙ</a:t>
            </a:r>
            <a:endParaRPr lang="ru-RU" sz="2000" spc="10" dirty="0">
              <a:solidFill>
                <a:srgbClr val="FFC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ED1EA23-C494-85E0-1F8E-716A750A5AA5}"/>
              </a:ext>
            </a:extLst>
          </p:cNvPr>
          <p:cNvSpPr/>
          <p:nvPr/>
        </p:nvSpPr>
        <p:spPr>
          <a:xfrm>
            <a:off x="545389" y="2097285"/>
            <a:ext cx="4777877" cy="12141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b="1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ирование родителей </a:t>
            </a:r>
            <a:r>
              <a:rPr lang="ru-RU" sz="1400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водится через администрацию с учетом решения службы психолого-педагогического сопровождения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цент </a:t>
            </a:r>
            <a:r>
              <a:rPr lang="ru-RU" sz="1400" b="1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заботу </a:t>
            </a:r>
            <a:r>
              <a:rPr lang="ru-RU" sz="1400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 ребенке, а не на обвинения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комендации по обращению к специалистам.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B46FC8E-FBAE-134D-1B8C-EDEF302C1255}"/>
              </a:ext>
            </a:extLst>
          </p:cNvPr>
          <p:cNvSpPr/>
          <p:nvPr/>
        </p:nvSpPr>
        <p:spPr>
          <a:xfrm>
            <a:off x="756737" y="4120197"/>
            <a:ext cx="4355183" cy="7159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rgbClr val="FFC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ЛЬ КУРАТОРА,</a:t>
            </a:r>
          </a:p>
          <a:p>
            <a:pPr algn="ctr">
              <a:lnSpc>
                <a:spcPct val="106000"/>
              </a:lnSpc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rgbClr val="FFC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АССНОГО РУКОВОДИТЕЛЯ</a:t>
            </a:r>
            <a:endParaRPr lang="ru-RU" sz="2000" spc="10" dirty="0">
              <a:solidFill>
                <a:srgbClr val="FFC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7B785DE-A528-ACC8-4061-453A3E2081E1}"/>
              </a:ext>
            </a:extLst>
          </p:cNvPr>
          <p:cNvSpPr/>
          <p:nvPr/>
        </p:nvSpPr>
        <p:spPr>
          <a:xfrm>
            <a:off x="545391" y="4896721"/>
            <a:ext cx="4777877" cy="1899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b="1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держка</a:t>
            </a:r>
            <a:r>
              <a:rPr lang="ru-RU" sz="1400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благоприятного микроклимата в классе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b="1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роль </a:t>
            </a:r>
            <a:r>
              <a:rPr lang="ru-RU" sz="1400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циальной включенности учащегося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b="1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улярная связь </a:t>
            </a:r>
            <a:r>
              <a:rPr lang="ru-RU" sz="1400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 службой психолого-педагогического сопровождения (СППС).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действие включению учащегося в коллектив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b="1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ирование</a:t>
            </a:r>
            <a:r>
              <a:rPr lang="ru-RU" sz="1400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 повторных тревожных сигналах.</a:t>
            </a:r>
          </a:p>
        </p:txBody>
      </p:sp>
      <p:pic>
        <p:nvPicPr>
          <p:cNvPr id="9" name="Рисунок 8" descr="Изображение выглядит как черный, темнота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02A2255C-3A76-B2D5-F791-B1CCB36BAE9C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848" y="3649627"/>
            <a:ext cx="1126087" cy="1126087"/>
          </a:xfrm>
          <a:prstGeom prst="rect">
            <a:avLst/>
          </a:prstGeom>
        </p:spPr>
      </p:pic>
      <p:pic>
        <p:nvPicPr>
          <p:cNvPr id="11" name="Рисунок 10" descr="Изображение выглядит как Графика, Шрифт, снимок экрана, дизайн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E196E255-4D17-6DB8-48A6-D79310EE2A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93" y="839076"/>
            <a:ext cx="1126088" cy="112608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2DF3D6D-68D4-46CD-2796-B6D2E3DBB341}"/>
              </a:ext>
            </a:extLst>
          </p:cNvPr>
          <p:cNvSpPr txBox="1"/>
          <p:nvPr/>
        </p:nvSpPr>
        <p:spPr>
          <a:xfrm>
            <a:off x="6096000" y="126229"/>
            <a:ext cx="5893071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spc="-11" dirty="0">
                <a:solidFill>
                  <a:srgbClr val="2F55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ТРЕННЫЙ ПОРЯДОК ДЕЙСТВИЙ</a:t>
            </a:r>
            <a:br>
              <a:rPr lang="ru-RU" sz="2400" b="1" spc="-11" dirty="0">
                <a:solidFill>
                  <a:srgbClr val="2F55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000" b="1" spc="-1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КРАСНЫЙ УРОВЕНЬ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3975D16-A3E1-9DC8-0EFA-36B670DD791E}"/>
              </a:ext>
            </a:extLst>
          </p:cNvPr>
          <p:cNvSpPr txBox="1"/>
          <p:nvPr/>
        </p:nvSpPr>
        <p:spPr>
          <a:xfrm>
            <a:off x="5943333" y="1402120"/>
            <a:ext cx="1775653" cy="121411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ctr" defTabSz="828446" eaLnBrk="0" fontAlgn="base" hangingPunct="0">
              <a:spcBef>
                <a:spcPct val="0"/>
              </a:spcBef>
              <a:spcAft>
                <a:spcPct val="0"/>
              </a:spcAft>
              <a:defRPr sz="1268" ker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828446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/>
              <a:t>ПРИЗНАКИ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65FDBC79-4E38-75A2-DB92-58F1516025C8}"/>
              </a:ext>
            </a:extLst>
          </p:cNvPr>
          <p:cNvSpPr/>
          <p:nvPr/>
        </p:nvSpPr>
        <p:spPr>
          <a:xfrm>
            <a:off x="8071303" y="1402120"/>
            <a:ext cx="3633769" cy="12141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schemeClr val="accent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ямые высказывания о намерении покончить с собой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schemeClr val="accent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грозы, прощальные сообщения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schemeClr val="accent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несение себе вреда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schemeClr val="accent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тивоправные действия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47359B0-FA78-A2C5-5F25-89D422D9D715}"/>
              </a:ext>
            </a:extLst>
          </p:cNvPr>
          <p:cNvSpPr txBox="1"/>
          <p:nvPr/>
        </p:nvSpPr>
        <p:spPr>
          <a:xfrm>
            <a:off x="5943333" y="3271361"/>
            <a:ext cx="1775653" cy="2812886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ctr" defTabSz="828446" eaLnBrk="0" fontAlgn="base" hangingPunct="0">
              <a:spcBef>
                <a:spcPct val="0"/>
              </a:spcBef>
              <a:spcAft>
                <a:spcPct val="0"/>
              </a:spcAft>
              <a:defRPr sz="1268" ker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828446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/>
              <a:t>ДЕЙСТВИЯ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FF7DA7CA-CB99-BA7C-A061-1570D597892D}"/>
              </a:ext>
            </a:extLst>
          </p:cNvPr>
          <p:cNvSpPr/>
          <p:nvPr/>
        </p:nvSpPr>
        <p:spPr>
          <a:xfrm>
            <a:off x="7893302" y="3271361"/>
            <a:ext cx="3989770" cy="27476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6000"/>
              </a:lnSpc>
              <a:tabLst>
                <a:tab pos="-450215" algn="l"/>
                <a:tab pos="630555" algn="l"/>
              </a:tabLst>
            </a:pPr>
            <a:r>
              <a:rPr lang="ru-RU" sz="1400" b="1" spc="10" dirty="0">
                <a:solidFill>
                  <a:schemeClr val="accent6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Немедленно сообщить администрации колледжа, школы.</a:t>
            </a:r>
          </a:p>
          <a:p>
            <a:pPr>
              <a:lnSpc>
                <a:spcPct val="106000"/>
              </a:lnSpc>
              <a:tabLst>
                <a:tab pos="-450215" algn="l"/>
                <a:tab pos="630555" algn="l"/>
              </a:tabLst>
            </a:pPr>
            <a:endParaRPr lang="ru-RU" sz="1400" b="1" spc="10" dirty="0">
              <a:solidFill>
                <a:schemeClr val="accent6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06000"/>
              </a:lnSpc>
              <a:tabLst>
                <a:tab pos="-450215" algn="l"/>
                <a:tab pos="630555" algn="l"/>
              </a:tabLst>
            </a:pPr>
            <a:r>
              <a:rPr lang="ru-RU" sz="1400" b="1" spc="10" dirty="0">
                <a:solidFill>
                  <a:schemeClr val="accent6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Администрация школы с учетом мнения СППС принимает решение о: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schemeClr val="accent6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овещении вышестоящих организации </a:t>
            </a:r>
            <a:r>
              <a:rPr lang="ru-RU" sz="1200" i="1" spc="10" dirty="0">
                <a:solidFill>
                  <a:schemeClr val="accent6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отдел образования, управление образования)</a:t>
            </a:r>
            <a:r>
              <a:rPr lang="ru-RU" sz="1400" spc="10" dirty="0">
                <a:solidFill>
                  <a:schemeClr val="accent6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schemeClr val="accent6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зов экстренных служб </a:t>
            </a:r>
            <a:r>
              <a:rPr lang="ru-RU" sz="1200" i="1" spc="10" dirty="0">
                <a:solidFill>
                  <a:schemeClr val="accent6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при необходимости – отдел полиции, специалисты здравоохранения, ЦПП, ЦПС, УПР области, социальные службы)</a:t>
            </a:r>
            <a:r>
              <a:rPr lang="ru-RU" sz="1400" spc="10" dirty="0">
                <a:solidFill>
                  <a:schemeClr val="accent6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marL="285750" indent="-28575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1400" spc="10" dirty="0">
                <a:solidFill>
                  <a:schemeClr val="accent6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ирование родителей.</a:t>
            </a:r>
          </a:p>
        </p:txBody>
      </p:sp>
    </p:spTree>
    <p:extLst>
      <p:ext uri="{BB962C8B-B14F-4D97-AF65-F5344CB8AC3E}">
        <p14:creationId xmlns:p14="http://schemas.microsoft.com/office/powerpoint/2010/main" val="35176915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F264C9-E161-80EF-2520-212609D35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8833C96-1B8C-FA2E-5554-0C81627AD73F}"/>
              </a:ext>
            </a:extLst>
          </p:cNvPr>
          <p:cNvSpPr/>
          <p:nvPr/>
        </p:nvSpPr>
        <p:spPr>
          <a:xfrm>
            <a:off x="0" y="0"/>
            <a:ext cx="433634" cy="43363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40EE41-D7BA-622A-09B4-9F57C991C1D5}"/>
              </a:ext>
            </a:extLst>
          </p:cNvPr>
          <p:cNvSpPr txBox="1"/>
          <p:nvPr/>
        </p:nvSpPr>
        <p:spPr>
          <a:xfrm>
            <a:off x="501978" y="-14016"/>
            <a:ext cx="1155200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spc="-11" dirty="0">
                <a:solidFill>
                  <a:srgbClr val="2F55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ЩИЕ ПРИНЦИПЫ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3FB04605-18B3-A570-76A1-9D1C030B1019}"/>
              </a:ext>
            </a:extLst>
          </p:cNvPr>
          <p:cNvCxnSpPr>
            <a:cxnSpLocks/>
          </p:cNvCxnSpPr>
          <p:nvPr/>
        </p:nvCxnSpPr>
        <p:spPr>
          <a:xfrm>
            <a:off x="0" y="433634"/>
            <a:ext cx="12192000" cy="7959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B8B5D544-AD9E-4FB9-FB49-49443FBE032F}"/>
              </a:ext>
            </a:extLst>
          </p:cNvPr>
          <p:cNvSpPr txBox="1"/>
          <p:nvPr/>
        </p:nvSpPr>
        <p:spPr>
          <a:xfrm>
            <a:off x="6162203" y="687470"/>
            <a:ext cx="583383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spc="-1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ПРЕЩЕНО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FA99871-F815-F7B5-CC1E-304F69D80D31}"/>
              </a:ext>
            </a:extLst>
          </p:cNvPr>
          <p:cNvSpPr/>
          <p:nvPr/>
        </p:nvSpPr>
        <p:spPr>
          <a:xfrm>
            <a:off x="1445463" y="925055"/>
            <a:ext cx="3673696" cy="1042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6000"/>
              </a:lnSpc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ННЕЕ ВЫЯВЛЕНИЕ ПОВЕДЕНЧЕСКИХ ПРИЗНАКОВ</a:t>
            </a:r>
            <a:endParaRPr lang="ru-RU" sz="2000" spc="1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6514C16-3945-8C92-E62D-C00B5EC13649}"/>
              </a:ext>
            </a:extLst>
          </p:cNvPr>
          <p:cNvSpPr/>
          <p:nvPr/>
        </p:nvSpPr>
        <p:spPr>
          <a:xfrm>
            <a:off x="1397531" y="2435318"/>
            <a:ext cx="3673696" cy="7159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6000"/>
              </a:lnSpc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ФИДЕНЦИАЛЬНОСТЬ И ЭТИЧНОСТЬ</a:t>
            </a:r>
            <a:endParaRPr lang="ru-RU" sz="2000" spc="1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8C8BC09-0462-37B1-5C22-7165EA77620C}"/>
              </a:ext>
            </a:extLst>
          </p:cNvPr>
          <p:cNvSpPr/>
          <p:nvPr/>
        </p:nvSpPr>
        <p:spPr>
          <a:xfrm>
            <a:off x="1397531" y="3741610"/>
            <a:ext cx="3673696" cy="1042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6000"/>
              </a:lnSpc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ЗАМЕДЛИТЕЛЬНОЕ ИНФОРМИРОВАНИЕ СПЕЦИАЛИСТОВ</a:t>
            </a:r>
            <a:endParaRPr lang="ru-RU" sz="2000" spc="1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5E345D9-AE28-C061-249A-51621E8C701C}"/>
              </a:ext>
            </a:extLst>
          </p:cNvPr>
          <p:cNvSpPr/>
          <p:nvPr/>
        </p:nvSpPr>
        <p:spPr>
          <a:xfrm>
            <a:off x="1445463" y="5117112"/>
            <a:ext cx="4182654" cy="1042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6000"/>
              </a:lnSpc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ДОПУСТИМОСТЬ ИГНОРИРОВАНИЯ ТРЕВОЖНЫХ СИГНАЛОВ</a:t>
            </a:r>
            <a:endParaRPr lang="ru-RU" sz="2000" spc="1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1" name="Рисунок 10" descr="Изображение выглядит как черный, темнота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F48B107B-6D15-5E20-07F9-D65A7A866F12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813" y="867268"/>
            <a:ext cx="1157718" cy="1157718"/>
          </a:xfrm>
          <a:prstGeom prst="rect">
            <a:avLst/>
          </a:prstGeom>
        </p:spPr>
      </p:pic>
      <p:pic>
        <p:nvPicPr>
          <p:cNvPr id="13" name="Рисунок 12" descr="Изображение выглядит как черный, темнота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E8EA86DD-2063-E8C5-A64D-E1F0D918B9E3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967" y="2214410"/>
            <a:ext cx="1157718" cy="1157718"/>
          </a:xfrm>
          <a:prstGeom prst="rect">
            <a:avLst/>
          </a:prstGeom>
        </p:spPr>
      </p:pic>
      <p:pic>
        <p:nvPicPr>
          <p:cNvPr id="15" name="Рисунок 14" descr="Изображение выглядит как черный, темнота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ABBE97CF-235F-3C55-31A5-AA8333195AB5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967" y="3683824"/>
            <a:ext cx="1157718" cy="1157718"/>
          </a:xfrm>
          <a:prstGeom prst="rect">
            <a:avLst/>
          </a:prstGeom>
        </p:spPr>
      </p:pic>
      <p:pic>
        <p:nvPicPr>
          <p:cNvPr id="17" name="Рисунок 16" descr="Изображение выглядит как черный, темнота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DB6310AF-7E70-21D4-7649-05C8A505D512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812" y="5059326"/>
            <a:ext cx="1157719" cy="1157719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E86A5C4-5690-3659-FC3E-3FBC84FBF3DD}"/>
              </a:ext>
            </a:extLst>
          </p:cNvPr>
          <p:cNvSpPr/>
          <p:nvPr/>
        </p:nvSpPr>
        <p:spPr>
          <a:xfrm>
            <a:off x="6162203" y="1388956"/>
            <a:ext cx="5833830" cy="49570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ГНОРИРОВАТЬ СИГНАЛЫ;</a:t>
            </a:r>
          </a:p>
          <a:p>
            <a:pPr>
              <a:lnSpc>
                <a:spcPct val="106000"/>
              </a:lnSpc>
              <a:tabLst>
                <a:tab pos="-450215" algn="l"/>
                <a:tab pos="630555" algn="l"/>
              </a:tabLst>
            </a:pPr>
            <a:endParaRPr lang="ru-RU" sz="2000" b="1" spc="10" dirty="0">
              <a:solidFill>
                <a:schemeClr val="tx1">
                  <a:lumMod val="65000"/>
                  <a:lumOff val="3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СУЖДАТЬ СИТУАЦИЮ С ДРУГИМИ УЧАЩИМИСЯ;</a:t>
            </a:r>
          </a:p>
          <a:p>
            <a:pPr>
              <a:lnSpc>
                <a:spcPct val="106000"/>
              </a:lnSpc>
              <a:tabLst>
                <a:tab pos="-450215" algn="l"/>
                <a:tab pos="630555" algn="l"/>
              </a:tabLst>
            </a:pPr>
            <a:endParaRPr lang="ru-RU" sz="2000" b="1" spc="10" dirty="0">
              <a:solidFill>
                <a:schemeClr val="tx1">
                  <a:lumMod val="65000"/>
                  <a:lumOff val="3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МОСТОЯТЕЛЬНОЕ «ВЕДЕНИЕ» СИТУАЦИИ КУРАТОРОМ, КЛАССНЫМ РУКОВОДИТЕЛЕМ НЕДОПУСТИМО;</a:t>
            </a:r>
          </a:p>
          <a:p>
            <a:pPr>
              <a:lnSpc>
                <a:spcPct val="106000"/>
              </a:lnSpc>
              <a:tabLst>
                <a:tab pos="-450215" algn="l"/>
                <a:tab pos="630555" algn="l"/>
              </a:tabLst>
            </a:pPr>
            <a:endParaRPr lang="ru-RU" sz="2000" b="1" spc="10" dirty="0">
              <a:solidFill>
                <a:schemeClr val="tx1">
                  <a:lumMod val="65000"/>
                  <a:lumOff val="3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УГАТЬ ОТВЕТСТВЕННОСТЬЮ ИЛИ НАКАЗАНИЕМ;</a:t>
            </a:r>
          </a:p>
          <a:p>
            <a:pPr>
              <a:lnSpc>
                <a:spcPct val="106000"/>
              </a:lnSpc>
              <a:tabLst>
                <a:tab pos="-450215" algn="l"/>
                <a:tab pos="630555" algn="l"/>
              </a:tabLst>
            </a:pPr>
            <a:endParaRPr lang="ru-RU" sz="2000" b="1" spc="10" dirty="0">
              <a:solidFill>
                <a:schemeClr val="tx1">
                  <a:lumMod val="65000"/>
                  <a:lumOff val="3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lnSpc>
                <a:spcPct val="106000"/>
              </a:lnSpc>
              <a:buFontTx/>
              <a:buChar char="-"/>
              <a:tabLst>
                <a:tab pos="-450215" algn="l"/>
                <a:tab pos="630555" algn="l"/>
              </a:tabLst>
            </a:pPr>
            <a:r>
              <a:rPr lang="ru-RU" sz="2000" b="1" spc="1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З РЕШЕНИЯ СППС ТРЕВОЖИТЬ РОДИТЕЛЕЙ И ЗАКОННЫХ ПРЕДСТАВИТЕЛЕЙ</a:t>
            </a:r>
          </a:p>
        </p:txBody>
      </p:sp>
      <p:pic>
        <p:nvPicPr>
          <p:cNvPr id="20" name="Рисунок 19" descr="Изображение выглядит как круг, символ, Графика, Шрифт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6C9181F9-9E94-0E3A-4F8F-0462CD106D94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622" y="1245729"/>
            <a:ext cx="4876190" cy="487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7718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iTOGWRYH5EHR37vmtZh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19</TotalTime>
  <Words>341</Words>
  <Application>Microsoft Office PowerPoint</Application>
  <PresentationFormat>Широкоэкранный</PresentationFormat>
  <Paragraphs>64</Paragraphs>
  <Slides>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4" baseType="lpstr">
      <vt:lpstr>Aptos</vt:lpstr>
      <vt:lpstr>Aptos Display</vt:lpstr>
      <vt:lpstr>Arial</vt:lpstr>
      <vt:lpstr>Microsoft Sans Serif</vt:lpstr>
      <vt:lpstr>Segoe UI Black</vt:lpstr>
      <vt:lpstr>Segoe UI Light</vt:lpstr>
      <vt:lpstr>Tahoma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мат Кайракбеков</dc:creator>
  <cp:lastModifiedBy>1</cp:lastModifiedBy>
  <cp:revision>115</cp:revision>
  <cp:lastPrinted>2025-03-20T04:12:03Z</cp:lastPrinted>
  <dcterms:created xsi:type="dcterms:W3CDTF">2024-12-17T12:36:43Z</dcterms:created>
  <dcterms:modified xsi:type="dcterms:W3CDTF">2026-01-13T15:26:22Z</dcterms:modified>
</cp:coreProperties>
</file>